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3648" r:id="rId1"/>
    <p:sldMasterId id="2147483649" r:id="rId2"/>
  </p:sldMasterIdLst>
  <p:notesMasterIdLst>
    <p:notesMasterId r:id="rId11"/>
  </p:notesMasterIdLst>
  <p:sldIdLst>
    <p:sldId id="256" r:id="rId3"/>
    <p:sldId id="257" r:id="rId4"/>
    <p:sldId id="258" r:id="rId5"/>
    <p:sldId id="264" r:id="rId6"/>
    <p:sldId id="265" r:id="rId7"/>
    <p:sldId id="269" r:id="rId8"/>
    <p:sldId id="270" r:id="rId9"/>
    <p:sldId id="268" r:id="rId10"/>
  </p:sldIdLst>
  <p:sldSz cx="12192000" cy="6858000"/>
  <p:notesSz cx="6797675" cy="9928225"/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7" d="100"/>
          <a:sy n="87" d="100"/>
        </p:scale>
        <p:origin x="-222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шыларға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800" b="1" dirty="0" err="1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қ-</a:t>
            </a:r>
            <a:r>
              <a:rPr lang="ru-RU" sz="1800" i="1" kern="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</a:t>
            </a: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</a:t>
            </a:r>
            <a:endParaRPr lang="ru-RU" sz="1800" i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асшысының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ғ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инвестициялард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апсырмалар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Группа 11"/>
          <p:cNvGrpSpPr>
            <a:grpSpLocks/>
          </p:cNvGrpSpPr>
          <p:nvPr/>
        </p:nvGrpSpPr>
        <p:grpSpPr bwMode="auto">
          <a:xfrm>
            <a:off x="129214" y="1220702"/>
            <a:ext cx="11876021" cy="2039020"/>
            <a:chOff x="3901794" y="1255401"/>
            <a:chExt cx="4330437" cy="3090054"/>
          </a:xfrm>
        </p:grpSpPr>
        <p:sp>
          <p:nvSpPr>
            <p:cNvPr id="29" name="TextBox 6"/>
            <p:cNvSpPr txBox="1">
              <a:spLocks noChangeAspect="1"/>
            </p:cNvSpPr>
            <p:nvPr/>
          </p:nvSpPr>
          <p:spPr bwMode="auto">
            <a:xfrm>
              <a:off x="3901794" y="1686844"/>
              <a:ext cx="4330437" cy="26586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д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ндір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неркәсіб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қс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амыған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шаңыз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лгіл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Осы сала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ұлтт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кономиканы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сім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мтамасыз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тет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енімд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быс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з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ып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лед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ашақт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да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лай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у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иіс</a:t>
              </a:r>
              <a:r>
                <a:rPr lang="ru-RU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»</a:t>
              </a:r>
              <a:endPara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еология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ла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йрықш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зар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удару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жет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тед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лімізді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нерал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икізат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засы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олықтыр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ш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18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тау-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асы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сқар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әселесін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тыст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ң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ңдар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былдан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іра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лаптар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о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ындалмай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тыр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ны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дарына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биғи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сурсқ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нш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бай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са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та,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пте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р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уыз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олтырып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йтаты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еология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ңа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шылға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хуал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ре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згерт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рек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400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кіметтің</a:t>
              </a:r>
              <a:r>
                <a:rPr lang="ru-RU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індет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2026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рай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ны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өлем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мінд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 миллион 200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ың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ткізу</a:t>
              </a:r>
              <a:r>
                <a:rPr lang="ru-RU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Box 7"/>
            <p:cNvSpPr txBox="1">
              <a:spLocks noChangeArrowheads="1"/>
            </p:cNvSpPr>
            <p:nvPr/>
          </p:nvSpPr>
          <p:spPr bwMode="auto">
            <a:xfrm>
              <a:off x="3901794" y="1255401"/>
              <a:ext cx="4263581" cy="862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3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 </a:t>
              </a:r>
              <a:r>
                <a:rPr lang="ru-RU" sz="1400" b="1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ркүйектегі</a:t>
              </a:r>
              <a:r>
                <a:rPr lang="ru-RU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«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ділетті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ның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кономикалық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ғдары</a:t>
              </a:r>
              <a:r>
                <a:rPr lang="ru-RU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 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тты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лқына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лдауынан</a:t>
              </a:r>
              <a:r>
                <a:rPr lang="ru-RU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en-US" sz="17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1" name="Группа 12"/>
          <p:cNvGrpSpPr>
            <a:grpSpLocks/>
          </p:cNvGrpSpPr>
          <p:nvPr/>
        </p:nvGrpSpPr>
        <p:grpSpPr bwMode="auto">
          <a:xfrm>
            <a:off x="215915" y="3696060"/>
            <a:ext cx="11702615" cy="2323740"/>
            <a:chOff x="5214832" y="1148702"/>
            <a:chExt cx="6901282" cy="1717002"/>
          </a:xfrm>
        </p:grpSpPr>
        <p:sp>
          <p:nvSpPr>
            <p:cNvPr id="32" name="TextBox 8"/>
            <p:cNvSpPr txBox="1">
              <a:spLocks noChangeArrowheads="1"/>
            </p:cNvSpPr>
            <p:nvPr/>
          </p:nvSpPr>
          <p:spPr bwMode="auto">
            <a:xfrm>
              <a:off x="5214832" y="1693250"/>
              <a:ext cx="6876608" cy="1172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еке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ялар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арт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қыл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керлік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елсенділікті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ртуын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лайл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ғдай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саға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ө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л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ші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дыме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 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ясат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ұрақт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у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иіс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Сонда бизнес те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пал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амуғ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ынтал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а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уапкершілікпе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ұмыс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тейді</a:t>
              </a:r>
              <a:r>
                <a:rPr lang="ru-RU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я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хуал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бизнес 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үргізуг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жетті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ғдай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қсарт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лынд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здіксіз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ұмыс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істе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ңыз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»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лп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анд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изнеск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әне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етел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орларына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л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шу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–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Үкімет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ен 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р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млекеттік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 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ганның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індеті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… 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әсіпкерлер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ен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орлар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з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ұмысы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дал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үргізіп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ңд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қтап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лық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өлеуден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лтармауы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ерек</a:t>
              </a:r>
              <a:r>
                <a:rPr lang="ru-RU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9"/>
            <p:cNvSpPr txBox="1">
              <a:spLocks noChangeArrowheads="1"/>
            </p:cNvSpPr>
            <p:nvPr/>
          </p:nvSpPr>
          <p:spPr bwMode="auto">
            <a:xfrm>
              <a:off x="5239505" y="1148702"/>
              <a:ext cx="6876609" cy="3866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4 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ылғы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ыркүйектегі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«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Әділетті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ң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мен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әртіп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экономикалық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өсім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оғамдық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птимизм»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тты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Қазақстан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лқына</a:t>
              </a:r>
              <a:r>
                <a:rPr lang="ru-RU" sz="14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олдауынан</a:t>
              </a:r>
              <a:r>
                <a:rPr lang="ru-RU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</a:t>
              </a:r>
              <a:endPara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Номер слайда 33"/>
          <p:cNvSpPr>
            <a:spLocks noGrp="1"/>
          </p:cNvSpPr>
          <p:nvPr>
            <p:ph type="sldNum" sz="quarter" idx="12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pPr/>
              <a:t>1</a:t>
            </a:fld>
            <a:endParaRPr lang="en-US" sz="105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ж</a:t>
            </a:r>
            <a:r>
              <a:rPr lang="ru-RU" dirty="0"/>
              <a:t>.: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048000" y="2967335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048000" y="2967335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 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467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ушыларғ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орпоративтік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рекшеліктері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42B67832-E8B9-3B9E-A384-104D1FDEAB91}"/>
              </a:ext>
            </a:extLst>
          </p:cNvPr>
          <p:cNvSpPr txBox="1"/>
          <p:nvPr/>
        </p:nvSpPr>
        <p:spPr>
          <a:xfrm>
            <a:off x="219808" y="1409088"/>
            <a:ext cx="117025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ндіруш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а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к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л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раграфтар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ыңғайл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болу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-ж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шылард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ге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іріст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йқынд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өніндег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екш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ежел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БЖ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ге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өніндег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ежелер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к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раграфқ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C4E58C36-1810-FBBB-52C0-AAF7078F8E4F}"/>
              </a:ext>
            </a:extLst>
          </p:cNvPr>
          <p:cNvSpPr/>
          <p:nvPr/>
        </p:nvSpPr>
        <p:spPr>
          <a:xfrm>
            <a:off x="193432" y="993849"/>
            <a:ext cx="11728938" cy="3774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ТС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мінде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інің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ылымы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герту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1BA5ADA1-87FA-937C-C09E-4E0E6B020460}"/>
              </a:ext>
            </a:extLst>
          </p:cNvPr>
          <p:cNvSpPr/>
          <p:nvPr/>
        </p:nvSpPr>
        <p:spPr>
          <a:xfrm>
            <a:off x="193432" y="2321151"/>
            <a:ext cx="11728938" cy="6657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у-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ұнай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-газ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аларында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БЖ-</a:t>
            </a:r>
            <a:r>
              <a:rPr lang="ru-RU" b="1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ға</a:t>
            </a:r>
            <a:r>
              <a:rPr lang="ru-RU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ды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геру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өніндегі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режелер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БЖ-</a:t>
            </a:r>
            <a:r>
              <a:rPr lang="ru-RU" b="1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ы</a:t>
            </a:r>
            <a:r>
              <a:rPr lang="ru-RU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ынталандыру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176B006-6A0E-DA49-58FA-6740C0AC4B53}"/>
              </a:ext>
            </a:extLst>
          </p:cNvPr>
          <p:cNvSpPr txBox="1"/>
          <p:nvPr/>
        </p:nvSpPr>
        <p:spPr>
          <a:xfrm>
            <a:off x="193431" y="2986871"/>
            <a:ext cx="1170256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ндіру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нал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тау-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асында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БЖ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герім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тқыз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ауд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тылығын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рамас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рл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тсіз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ыс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КТҚ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д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иынт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т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ЖТ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е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БЖ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герім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тқызу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лу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оқтатыл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д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шы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инақталғ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ТҚ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ар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уыстыру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ңд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рілді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2EB14A19-4F9D-4966-800A-59858CEDB465}"/>
              </a:ext>
            </a:extLst>
          </p:cNvPr>
          <p:cNvSpPr/>
          <p:nvPr/>
        </p:nvSpPr>
        <p:spPr>
          <a:xfrm>
            <a:off x="193431" y="5073435"/>
            <a:ext cx="11702561" cy="6524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5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ға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йінгі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рзімге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RR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5% - дан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пайты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ҚӨС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өлдік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өлшерлемесі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16AD3EF-3D51-425B-B5B2-0A817B1A8D97}"/>
              </a:ext>
            </a:extLst>
          </p:cNvPr>
          <p:cNvSpPr txBox="1"/>
          <p:nvPr/>
        </p:nvSpPr>
        <p:spPr>
          <a:xfrm>
            <a:off x="219808" y="5771575"/>
            <a:ext cx="117025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г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неркәсіпт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нді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2022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д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й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талс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ҚР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кіме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кітет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бе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нгізілет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ста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ры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өліг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үмкіндіг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. 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551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ау-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е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алу 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93431" y="2616990"/>
            <a:ext cx="11755316" cy="5471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хногендік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инералды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зілімдерді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зірлеуді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ынталандыру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93431" y="3278414"/>
            <a:ext cx="11755316" cy="20826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генд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ералд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зілімдерд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МТ)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балар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ҚПҚ)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ҚӨС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не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1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мендет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ҚӨС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с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тілді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МТ-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ПҚ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ғ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тік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жеттіліктері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у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д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ПҚ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май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ПҚ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ҚӨС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сі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0,02 АЕК –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ннасын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3,84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кг)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5157" y="993347"/>
            <a:ext cx="11755316" cy="5471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ПҚ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йта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ңдеу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42B67832-E8B9-3B9E-A384-104D1FDEAB91}"/>
              </a:ext>
            </a:extLst>
          </p:cNvPr>
          <p:cNvSpPr txBox="1"/>
          <p:nvPr/>
        </p:nvSpPr>
        <p:spPr>
          <a:xfrm>
            <a:off x="219808" y="1626298"/>
            <a:ext cx="117025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н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нталанд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қат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делг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КТС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елу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денд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дар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62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ұнай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асын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алу 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65F409DC-A4F7-4B07-117A-AC4A0E450F95}"/>
              </a:ext>
            </a:extLst>
          </p:cNvPr>
          <p:cNvSpPr txBox="1"/>
          <p:nvPr/>
        </p:nvSpPr>
        <p:spPr>
          <a:xfrm>
            <a:off x="214199" y="1402353"/>
            <a:ext cx="11711354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Егер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е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орн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сарқылу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өлшемшарттарына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елсе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қарс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инвестициялық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міндеттемелері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бар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пайдалануға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балама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салықт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smtClean="0">
                <a:latin typeface="Arial" pitchFamily="34" charset="0"/>
                <a:cs typeface="Arial" pitchFamily="34" charset="0"/>
              </a:rPr>
              <a:t>(ЖБС+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режимі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қолдануға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рұқсат</a:t>
            </a:r>
            <a:r>
              <a:rPr lang="ru-RU" sz="1600" dirty="0" smtClean="0"/>
              <a:t> 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суландыру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өндіру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, не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Мұнайды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алу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коэффициенті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 0,4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одан</a:t>
            </a:r>
            <a:r>
              <a:rPr lang="ru-RU" sz="1200" i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200" i="1" dirty="0" err="1">
                <a:latin typeface="Arial" pitchFamily="34" charset="0"/>
                <a:cs typeface="Arial" pitchFamily="34" charset="0"/>
              </a:rPr>
              <a:t>жоғары</a:t>
            </a:r>
            <a:r>
              <a:rPr lang="ru-RU" sz="1200" i="1" kern="0" dirty="0" smtClean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);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Инвестициялық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міндеттемелер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(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қойнауы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пайдалану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кодекстің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 153-1-бабына </a:t>
            </a:r>
            <a:r>
              <a:rPr lang="ru-RU" sz="1600" i="1" kern="100" dirty="0" err="1">
                <a:latin typeface="Arial" pitchFamily="34" charset="0"/>
                <a:cs typeface="Arial" pitchFamily="34" charset="0"/>
              </a:rPr>
              <a:t>сәйкес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lvl="4" indent="-285750" algn="just"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лісімшартқ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ер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йнау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айдаланушыны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індеттемесі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енгізіледі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ұндай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рн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геруг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ән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(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емес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)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ңірді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әлеуметтік-экономика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аму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сым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аржыландыруғ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қосым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ар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індеттем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олып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табылады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600"/>
              </a:spcBef>
              <a:buClr>
                <a:srgbClr val="000000"/>
              </a:buClr>
              <a:buFont typeface="Arial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арқылаты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ен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рн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ялау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оэффициенті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өндірудің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ақты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жылдық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өлемін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ЖЖТ 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%)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үйене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тырып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белгіленеді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DA8607F4-5519-96B0-2389-5F5816BFD067}"/>
              </a:ext>
            </a:extLst>
          </p:cNvPr>
          <p:cNvSpPr/>
          <p:nvPr/>
        </p:nvSpPr>
        <p:spPr>
          <a:xfrm>
            <a:off x="228602" y="1052739"/>
            <a:ext cx="11711354" cy="282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рқылаты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тілге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ры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геруді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ынталандыру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497D0913-9B78-4EE5-9D3F-DD5F97A36AB1}"/>
              </a:ext>
            </a:extLst>
          </p:cNvPr>
          <p:cNvSpPr txBox="1"/>
          <p:nvPr/>
        </p:nvSpPr>
        <p:spPr>
          <a:xfrm>
            <a:off x="239798" y="4391870"/>
            <a:ext cx="11784011" cy="6377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 smtClean="0">
                <a:latin typeface="Arial" pitchFamily="34" charset="0"/>
                <a:cs typeface="Arial" pitchFamily="34" charset="0"/>
              </a:rPr>
              <a:t>«</a:t>
            </a:r>
            <a:r>
              <a:rPr lang="ru-RU" sz="1600" kern="100" dirty="0" err="1" smtClean="0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kern="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қойнау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пайдалану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latin typeface="Arial" pitchFamily="34" charset="0"/>
                <a:cs typeface="Arial" pitchFamily="34" charset="0"/>
              </a:rPr>
              <a:t>туралы</a:t>
            </a:r>
            <a:r>
              <a:rPr lang="ru-RU" sz="1600" kern="100" dirty="0" smtClean="0">
                <a:latin typeface="Arial" pitchFamily="34" charset="0"/>
                <a:cs typeface="Arial" pitchFamily="34" charset="0"/>
              </a:rPr>
              <a:t>»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одексте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рұқсат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етілге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өлемде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газд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жағуға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өндірістік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өзіндік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құн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негізге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алына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отырып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әлемдік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бағаме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емес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smtClean="0">
                <a:latin typeface="Arial" pitchFamily="34" charset="0"/>
                <a:cs typeface="Arial" pitchFamily="34" charset="0"/>
              </a:rPr>
              <a:t>ПҚӨС-</a:t>
            </a:r>
            <a:r>
              <a:rPr lang="ru-RU" sz="1600" kern="100" dirty="0" err="1" smtClean="0">
                <a:latin typeface="Arial" pitchFamily="34" charset="0"/>
                <a:cs typeface="Arial" pitchFamily="34" charset="0"/>
              </a:rPr>
              <a:t>ға</a:t>
            </a:r>
            <a:r>
              <a:rPr lang="ru-RU" sz="1600" kern="1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салынаты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болады</a:t>
            </a:r>
            <a:endParaRPr lang="ru-RU" sz="1600" kern="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A25C514C-27D2-4F2A-A549-B29FBCC7D5FC}"/>
              </a:ext>
            </a:extLst>
          </p:cNvPr>
          <p:cNvSpPr/>
          <p:nvPr/>
        </p:nvSpPr>
        <p:spPr>
          <a:xfrm>
            <a:off x="272455" y="4007739"/>
            <a:ext cx="11740158" cy="3841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хнологиялық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рғыда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өзсіз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наты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азға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у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A246C201-3BBC-41B0-9B91-60CF505E0756}"/>
              </a:ext>
            </a:extLst>
          </p:cNvPr>
          <p:cNvSpPr/>
          <p:nvPr/>
        </p:nvSpPr>
        <p:spPr>
          <a:xfrm>
            <a:off x="228602" y="5158615"/>
            <a:ext cx="11740158" cy="5826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еологиялық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паратты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туда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йінгі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ірістерде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еологиялық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ерттеуге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налған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ыстарды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ке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06B600C-8334-41E9-9277-5C9FB8DE9D3C}"/>
              </a:ext>
            </a:extLst>
          </p:cNvPr>
          <p:cNvSpPr txBox="1"/>
          <p:nvPr/>
        </p:nvSpPr>
        <p:spPr>
          <a:xfrm>
            <a:off x="168167" y="7037279"/>
            <a:ext cx="11740158" cy="934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бытки недропользователя, возникшие после завершения лицензии на геологическое изучение недр возможно покрыть последующими доходами от реализации полученной геологической информации в течение пятилетнего срока (срок конфиденциальности) в соответствии с Кодексом «О недрах и недропользовании»</a:t>
            </a:r>
            <a:endParaRPr lang="ru-RU" sz="1600" i="1" dirty="0">
              <a:solidFill>
                <a:srgbClr val="002060"/>
              </a:solidFill>
              <a:ea typeface="Tahoma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28A23F3-09A6-40AE-8B95-37ED4D9EC4EB}"/>
              </a:ext>
            </a:extLst>
          </p:cNvPr>
          <p:cNvSpPr txBox="1"/>
          <p:nvPr/>
        </p:nvSpPr>
        <p:spPr>
          <a:xfrm>
            <a:off x="185395" y="5805261"/>
            <a:ext cx="11740158" cy="653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геологиялық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зерттеуге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арналға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шығыстард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бес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жылдық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мерзім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алынға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геологиялық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ақпаратт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сатуда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ейінгі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ірістермен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жабуға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болады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іші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latin typeface="Arial" pitchFamily="34" charset="0"/>
                <a:cs typeface="Arial" pitchFamily="34" charset="0"/>
              </a:rPr>
              <a:t>компаниялар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) </a:t>
            </a:r>
            <a:endParaRPr lang="ru-RU" sz="1600" kern="1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066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ушылард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үсет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үсімд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2119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0295BC47-C863-1D60-39ED-67091C2372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94916"/>
              </p:ext>
            </p:extLst>
          </p:nvPr>
        </p:nvGraphicFramePr>
        <p:xfrm>
          <a:off x="165102" y="1492250"/>
          <a:ext cx="11847511" cy="459105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407922">
                  <a:extLst>
                    <a:ext uri="{9D8B030D-6E8A-4147-A177-3AD203B41FA5}">
                      <a16:colId xmlns:a16="http://schemas.microsoft.com/office/drawing/2014/main" xmlns="" val="2622604158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xmlns="" val="6290586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xmlns="" val="1295769057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xmlns="" val="1893656902"/>
                    </a:ext>
                  </a:extLst>
                </a:gridCol>
                <a:gridCol w="778851">
                  <a:extLst>
                    <a:ext uri="{9D8B030D-6E8A-4147-A177-3AD203B41FA5}">
                      <a16:colId xmlns:a16="http://schemas.microsoft.com/office/drawing/2014/main" xmlns="" val="400691065"/>
                    </a:ext>
                  </a:extLst>
                </a:gridCol>
                <a:gridCol w="883695">
                  <a:extLst>
                    <a:ext uri="{9D8B030D-6E8A-4147-A177-3AD203B41FA5}">
                      <a16:colId xmlns:a16="http://schemas.microsoft.com/office/drawing/2014/main" xmlns="" val="266555571"/>
                    </a:ext>
                  </a:extLst>
                </a:gridCol>
                <a:gridCol w="887441">
                  <a:extLst>
                    <a:ext uri="{9D8B030D-6E8A-4147-A177-3AD203B41FA5}">
                      <a16:colId xmlns:a16="http://schemas.microsoft.com/office/drawing/2014/main" xmlns="" val="3363403893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xmlns="" val="88128972"/>
                    </a:ext>
                  </a:extLst>
                </a:gridCol>
                <a:gridCol w="703960">
                  <a:extLst>
                    <a:ext uri="{9D8B030D-6E8A-4147-A177-3AD203B41FA5}">
                      <a16:colId xmlns:a16="http://schemas.microsoft.com/office/drawing/2014/main" xmlns="" val="199959241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xmlns="" val="2832940783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xmlns="" val="2817712118"/>
                    </a:ext>
                  </a:extLst>
                </a:gridCol>
                <a:gridCol w="793829">
                  <a:extLst>
                    <a:ext uri="{9D8B030D-6E8A-4147-A177-3AD203B41FA5}">
                      <a16:colId xmlns:a16="http://schemas.microsoft.com/office/drawing/2014/main" xmlns="" val="1668358473"/>
                    </a:ext>
                  </a:extLst>
                </a:gridCol>
                <a:gridCol w="797572">
                  <a:extLst>
                    <a:ext uri="{9D8B030D-6E8A-4147-A177-3AD203B41FA5}">
                      <a16:colId xmlns:a16="http://schemas.microsoft.com/office/drawing/2014/main" xmlns="" val="4065249757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xmlns="" val="2958635307"/>
                    </a:ext>
                  </a:extLst>
                </a:gridCol>
              </a:tblGrid>
              <a:tr h="360554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Жер</a:t>
                      </a:r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қойнауын</a:t>
                      </a:r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пайдаланушылар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1 ж. факт </a:t>
                      </a:r>
                      <a:endParaRPr lang="ru-RU" sz="1600" b="1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2 ж. факт </a:t>
                      </a:r>
                      <a:endParaRPr lang="ru-RU" sz="1600" b="1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3 ж. факт </a:t>
                      </a:r>
                      <a:endParaRPr lang="ru-RU" sz="1600" b="1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145112"/>
                  </a:ext>
                </a:extLst>
              </a:tr>
              <a:tr h="7777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Ұ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Ұ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Ұ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7517268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В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977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8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4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4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72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7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2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1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798339410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О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9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1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6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576232925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454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10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0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593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36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3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95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2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3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886967213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5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46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5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1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9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28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1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34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849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3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4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17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567315405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-СРП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4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741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6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70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11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70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51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760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 356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59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9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38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881131755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 </a:t>
                      </a:r>
                      <a:r>
                        <a:rPr lang="ru-RU" sz="160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19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20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31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8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60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8 99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26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27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39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 205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291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57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55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744235974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289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 666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398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64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605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1 027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857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73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398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 679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286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835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557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75120820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79937FF-F04D-3C94-3D0E-6F338DA7155E}"/>
              </a:ext>
            </a:extLst>
          </p:cNvPr>
          <p:cNvSpPr txBox="1"/>
          <p:nvPr/>
        </p:nvSpPr>
        <p:spPr>
          <a:xfrm>
            <a:off x="993774" y="958047"/>
            <a:ext cx="9547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МКК </a:t>
            </a:r>
            <a:r>
              <a:rPr lang="ru-RU" b="1" dirty="0" err="1">
                <a:solidFill>
                  <a:srgbClr val="002060"/>
                </a:solidFill>
                <a:latin typeface="Bookman Old Style" panose="02050604050505020204" pitchFamily="18" charset="0"/>
              </a:rPr>
              <a:t>құзыретіндегі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Bookman Old Style" panose="020506040505050202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Bookman Old Style" panose="02050604050505020204" pitchFamily="18" charset="0"/>
              </a:rPr>
              <a:t>түсімдер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endParaRPr lang="ru-RU" sz="1800" b="1" i="0" u="none" strike="noStrike" dirty="0">
              <a:solidFill>
                <a:srgbClr val="002060"/>
              </a:solidFill>
              <a:effectLst/>
              <a:latin typeface="Bookman Old Style" panose="0205060405050502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43A6178-6774-816E-7DB7-C26C2A4CCAF6}"/>
              </a:ext>
            </a:extLst>
          </p:cNvPr>
          <p:cNvSpPr txBox="1"/>
          <p:nvPr/>
        </p:nvSpPr>
        <p:spPr>
          <a:xfrm>
            <a:off x="10540999" y="1043628"/>
            <a:ext cx="1651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>
                <a:latin typeface="Bookman Old Style" panose="02050604050505020204" pitchFamily="18" charset="0"/>
              </a:rPr>
              <a:t>млрд. </a:t>
            </a:r>
            <a:r>
              <a:rPr lang="kk-KZ" sz="1400" i="1" dirty="0" smtClean="0">
                <a:latin typeface="Bookman Old Style" panose="02050604050505020204" pitchFamily="18" charset="0"/>
              </a:rPr>
              <a:t>теңге</a:t>
            </a:r>
            <a:endParaRPr lang="ru-RU" sz="1400" i="1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791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CC2783B1-B4DA-2F6F-9412-FF3FE63950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642D353-C4B1-6966-2787-D71DADD9E229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ушылард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үсет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үсімд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26B0709B-6088-F6BE-7353-7E4603B3CD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2119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B9D7B317-677C-D794-F6E1-CCFB8D4872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4823165"/>
              </p:ext>
            </p:extLst>
          </p:nvPr>
        </p:nvGraphicFramePr>
        <p:xfrm>
          <a:off x="165102" y="1492250"/>
          <a:ext cx="11847511" cy="465504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407922">
                  <a:extLst>
                    <a:ext uri="{9D8B030D-6E8A-4147-A177-3AD203B41FA5}">
                      <a16:colId xmlns:a16="http://schemas.microsoft.com/office/drawing/2014/main" xmlns="" val="2622604158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xmlns="" val="6290586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xmlns="" val="1295769057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xmlns="" val="1893656902"/>
                    </a:ext>
                  </a:extLst>
                </a:gridCol>
                <a:gridCol w="778851">
                  <a:extLst>
                    <a:ext uri="{9D8B030D-6E8A-4147-A177-3AD203B41FA5}">
                      <a16:colId xmlns:a16="http://schemas.microsoft.com/office/drawing/2014/main" xmlns="" val="400691065"/>
                    </a:ext>
                  </a:extLst>
                </a:gridCol>
                <a:gridCol w="883695">
                  <a:extLst>
                    <a:ext uri="{9D8B030D-6E8A-4147-A177-3AD203B41FA5}">
                      <a16:colId xmlns:a16="http://schemas.microsoft.com/office/drawing/2014/main" xmlns="" val="266555571"/>
                    </a:ext>
                  </a:extLst>
                </a:gridCol>
                <a:gridCol w="887441">
                  <a:extLst>
                    <a:ext uri="{9D8B030D-6E8A-4147-A177-3AD203B41FA5}">
                      <a16:colId xmlns:a16="http://schemas.microsoft.com/office/drawing/2014/main" xmlns="" val="3363403893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xmlns="" val="88128972"/>
                    </a:ext>
                  </a:extLst>
                </a:gridCol>
                <a:gridCol w="703960">
                  <a:extLst>
                    <a:ext uri="{9D8B030D-6E8A-4147-A177-3AD203B41FA5}">
                      <a16:colId xmlns:a16="http://schemas.microsoft.com/office/drawing/2014/main" xmlns="" val="199959241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xmlns="" val="2832940783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xmlns="" val="2817712118"/>
                    </a:ext>
                  </a:extLst>
                </a:gridCol>
                <a:gridCol w="793829">
                  <a:extLst>
                    <a:ext uri="{9D8B030D-6E8A-4147-A177-3AD203B41FA5}">
                      <a16:colId xmlns:a16="http://schemas.microsoft.com/office/drawing/2014/main" xmlns="" val="1668358473"/>
                    </a:ext>
                  </a:extLst>
                </a:gridCol>
                <a:gridCol w="797572">
                  <a:extLst>
                    <a:ext uri="{9D8B030D-6E8A-4147-A177-3AD203B41FA5}">
                      <a16:colId xmlns:a16="http://schemas.microsoft.com/office/drawing/2014/main" xmlns="" val="4065249757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xmlns="" val="2958635307"/>
                    </a:ext>
                  </a:extLst>
                </a:gridCol>
              </a:tblGrid>
              <a:tr h="359556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Жер</a:t>
                      </a:r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қойнауын</a:t>
                      </a:r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пайдаланушылар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Сан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023 ж. 9 ай </a:t>
                      </a:r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 факт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024 ж. 9 ай </a:t>
                      </a:r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бойынша</a:t>
                      </a:r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 факт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ауытқу</a:t>
                      </a:r>
                      <a:endParaRPr lang="ru-RU" sz="1600" b="1" u="none" strike="noStrike" kern="1200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145112"/>
                  </a:ext>
                </a:extLst>
              </a:tr>
              <a:tr h="775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Ұ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Ұ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Ұ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7517268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В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977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798339410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О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9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576232925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454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4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886967213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5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8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32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2567315405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-СРП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4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9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1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6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4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1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1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1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3881131755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 </a:t>
                      </a:r>
                      <a:r>
                        <a:rPr lang="ru-RU" sz="160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19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5 2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5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3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4 7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4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9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3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1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8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744235974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kk-KZ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289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 0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0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3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 2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4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9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8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5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8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75120820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4BD28C3-01F7-FDB8-7BBC-78E42BEB3246}"/>
              </a:ext>
            </a:extLst>
          </p:cNvPr>
          <p:cNvSpPr txBox="1"/>
          <p:nvPr/>
        </p:nvSpPr>
        <p:spPr>
          <a:xfrm>
            <a:off x="993774" y="958047"/>
            <a:ext cx="9547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МКК </a:t>
            </a:r>
            <a:r>
              <a:rPr lang="ru-RU" b="1" dirty="0" err="1">
                <a:solidFill>
                  <a:srgbClr val="002060"/>
                </a:solidFill>
                <a:latin typeface="Bookman Old Style" panose="02050604050505020204" pitchFamily="18" charset="0"/>
              </a:rPr>
              <a:t>құзыретіндегі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Bookman Old Style" panose="020506040505050202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Bookman Old Style" panose="02050604050505020204" pitchFamily="18" charset="0"/>
              </a:rPr>
              <a:t>түсімдер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endParaRPr lang="ru-RU" b="1" dirty="0">
              <a:solidFill>
                <a:srgbClr val="00206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86952BAB-EF01-4A01-95F1-8E9683002F93}"/>
              </a:ext>
            </a:extLst>
          </p:cNvPr>
          <p:cNvSpPr txBox="1"/>
          <p:nvPr/>
        </p:nvSpPr>
        <p:spPr>
          <a:xfrm>
            <a:off x="10540999" y="1043628"/>
            <a:ext cx="1651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>
                <a:latin typeface="Bookman Old Style" panose="02050604050505020204" pitchFamily="18" charset="0"/>
              </a:rPr>
              <a:t>млрд. </a:t>
            </a:r>
            <a:r>
              <a:rPr lang="kk-KZ" sz="1400" i="1" dirty="0" smtClean="0">
                <a:latin typeface="Bookman Old Style" panose="02050604050505020204" pitchFamily="18" charset="0"/>
              </a:rPr>
              <a:t>теңге</a:t>
            </a:r>
            <a:endParaRPr lang="ru-RU" sz="1400" i="1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211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xmlns="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пайдаланушылард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үсеті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үсімде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2119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xmlns="" id="{DFE57E30-D8E4-52D6-78BC-58B4D73F5A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3988236"/>
              </p:ext>
            </p:extLst>
          </p:nvPr>
        </p:nvGraphicFramePr>
        <p:xfrm>
          <a:off x="165102" y="1492250"/>
          <a:ext cx="11645897" cy="232374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26692">
                  <a:extLst>
                    <a:ext uri="{9D8B030D-6E8A-4147-A177-3AD203B41FA5}">
                      <a16:colId xmlns:a16="http://schemas.microsoft.com/office/drawing/2014/main" xmlns="" val="2622604158"/>
                    </a:ext>
                  </a:extLst>
                </a:gridCol>
                <a:gridCol w="1085970">
                  <a:extLst>
                    <a:ext uri="{9D8B030D-6E8A-4147-A177-3AD203B41FA5}">
                      <a16:colId xmlns:a16="http://schemas.microsoft.com/office/drawing/2014/main" xmlns="" val="62905861"/>
                    </a:ext>
                  </a:extLst>
                </a:gridCol>
                <a:gridCol w="1380087">
                  <a:extLst>
                    <a:ext uri="{9D8B030D-6E8A-4147-A177-3AD203B41FA5}">
                      <a16:colId xmlns:a16="http://schemas.microsoft.com/office/drawing/2014/main" xmlns="" val="1295769057"/>
                    </a:ext>
                  </a:extLst>
                </a:gridCol>
                <a:gridCol w="1069001">
                  <a:extLst>
                    <a:ext uri="{9D8B030D-6E8A-4147-A177-3AD203B41FA5}">
                      <a16:colId xmlns:a16="http://schemas.microsoft.com/office/drawing/2014/main" xmlns="" val="1893656902"/>
                    </a:ext>
                  </a:extLst>
                </a:gridCol>
                <a:gridCol w="1176469">
                  <a:extLst>
                    <a:ext uri="{9D8B030D-6E8A-4147-A177-3AD203B41FA5}">
                      <a16:colId xmlns:a16="http://schemas.microsoft.com/office/drawing/2014/main" xmlns="" val="400691065"/>
                    </a:ext>
                  </a:extLst>
                </a:gridCol>
                <a:gridCol w="1334837">
                  <a:extLst>
                    <a:ext uri="{9D8B030D-6E8A-4147-A177-3AD203B41FA5}">
                      <a16:colId xmlns:a16="http://schemas.microsoft.com/office/drawing/2014/main" xmlns="" val="266555571"/>
                    </a:ext>
                  </a:extLst>
                </a:gridCol>
                <a:gridCol w="1340496">
                  <a:extLst>
                    <a:ext uri="{9D8B030D-6E8A-4147-A177-3AD203B41FA5}">
                      <a16:colId xmlns:a16="http://schemas.microsoft.com/office/drawing/2014/main" xmlns="" val="3363403893"/>
                    </a:ext>
                  </a:extLst>
                </a:gridCol>
                <a:gridCol w="1069001">
                  <a:extLst>
                    <a:ext uri="{9D8B030D-6E8A-4147-A177-3AD203B41FA5}">
                      <a16:colId xmlns:a16="http://schemas.microsoft.com/office/drawing/2014/main" xmlns="" val="88128972"/>
                    </a:ext>
                  </a:extLst>
                </a:gridCol>
                <a:gridCol w="1063344">
                  <a:extLst>
                    <a:ext uri="{9D8B030D-6E8A-4147-A177-3AD203B41FA5}">
                      <a16:colId xmlns:a16="http://schemas.microsoft.com/office/drawing/2014/main" xmlns="" val="1999592411"/>
                    </a:ext>
                  </a:extLst>
                </a:gridCol>
              </a:tblGrid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КТС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ҚҚС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СПиН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, в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.ч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ҚӨС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Н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, в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.ч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ұнайға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ЭТП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сқалар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145112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1 </a:t>
                      </a:r>
                      <a:r>
                        <a:rPr lang="ru-RU" sz="16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ыл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 6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090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-40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118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99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12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026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7517268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2 </a:t>
                      </a:r>
                      <a:r>
                        <a:rPr lang="ru-RU" sz="16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ыл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1 0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8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-1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70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1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84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798339410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3 </a:t>
                      </a:r>
                      <a:r>
                        <a:rPr lang="ru-RU" sz="1600" b="0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жыл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 6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9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7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9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6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5762329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AD12149-930E-0F71-800C-6806464BEA72}"/>
              </a:ext>
            </a:extLst>
          </p:cNvPr>
          <p:cNvSpPr txBox="1"/>
          <p:nvPr/>
        </p:nvSpPr>
        <p:spPr>
          <a:xfrm>
            <a:off x="993774" y="958047"/>
            <a:ext cx="9547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МКК </a:t>
            </a:r>
            <a:r>
              <a:rPr lang="ru-RU" b="1" dirty="0" err="1">
                <a:solidFill>
                  <a:srgbClr val="002060"/>
                </a:solidFill>
                <a:latin typeface="Bookman Old Style" panose="02050604050505020204" pitchFamily="18" charset="0"/>
              </a:rPr>
              <a:t>құзыретіндегі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Bookman Old Style" panose="02050604050505020204" pitchFamily="18" charset="0"/>
              </a:rPr>
              <a:t>салықтық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Bookman Old Style" panose="02050604050505020204" pitchFamily="18" charset="0"/>
              </a:rPr>
              <a:t>түсімдер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 </a:t>
            </a:r>
            <a:endParaRPr lang="ru-RU" b="1" dirty="0">
              <a:solidFill>
                <a:srgbClr val="002060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EF9C6E7-6027-ACA5-EE97-1C049FE46083}"/>
              </a:ext>
            </a:extLst>
          </p:cNvPr>
          <p:cNvSpPr txBox="1"/>
          <p:nvPr/>
        </p:nvSpPr>
        <p:spPr>
          <a:xfrm>
            <a:off x="10540999" y="1043628"/>
            <a:ext cx="1651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>
                <a:latin typeface="Bookman Old Style" panose="02050604050505020204" pitchFamily="18" charset="0"/>
              </a:rPr>
              <a:t>млрд. </a:t>
            </a:r>
            <a:r>
              <a:rPr lang="kk-KZ" sz="1400" i="1" dirty="0" smtClean="0">
                <a:latin typeface="Bookman Old Style" panose="02050604050505020204" pitchFamily="18" charset="0"/>
              </a:rPr>
              <a:t>теңге</a:t>
            </a:r>
            <a:endParaRPr lang="ru-RU" sz="1400" i="1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xmlns="" id="{68492D48-B1A5-E53C-98E7-F6D78515E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660263"/>
              </p:ext>
            </p:extLst>
          </p:nvPr>
        </p:nvGraphicFramePr>
        <p:xfrm>
          <a:off x="165103" y="4180013"/>
          <a:ext cx="11660181" cy="232374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29301">
                  <a:extLst>
                    <a:ext uri="{9D8B030D-6E8A-4147-A177-3AD203B41FA5}">
                      <a16:colId xmlns:a16="http://schemas.microsoft.com/office/drawing/2014/main" xmlns="" val="2622604158"/>
                    </a:ext>
                  </a:extLst>
                </a:gridCol>
                <a:gridCol w="1087302">
                  <a:extLst>
                    <a:ext uri="{9D8B030D-6E8A-4147-A177-3AD203B41FA5}">
                      <a16:colId xmlns:a16="http://schemas.microsoft.com/office/drawing/2014/main" xmlns="" val="62905861"/>
                    </a:ext>
                  </a:extLst>
                </a:gridCol>
                <a:gridCol w="1381780">
                  <a:extLst>
                    <a:ext uri="{9D8B030D-6E8A-4147-A177-3AD203B41FA5}">
                      <a16:colId xmlns:a16="http://schemas.microsoft.com/office/drawing/2014/main" xmlns="" val="1295769057"/>
                    </a:ext>
                  </a:extLst>
                </a:gridCol>
                <a:gridCol w="1070312">
                  <a:extLst>
                    <a:ext uri="{9D8B030D-6E8A-4147-A177-3AD203B41FA5}">
                      <a16:colId xmlns:a16="http://schemas.microsoft.com/office/drawing/2014/main" xmlns="" val="1893656902"/>
                    </a:ext>
                  </a:extLst>
                </a:gridCol>
                <a:gridCol w="1177912">
                  <a:extLst>
                    <a:ext uri="{9D8B030D-6E8A-4147-A177-3AD203B41FA5}">
                      <a16:colId xmlns:a16="http://schemas.microsoft.com/office/drawing/2014/main" xmlns="" val="400691065"/>
                    </a:ext>
                  </a:extLst>
                </a:gridCol>
                <a:gridCol w="1336474">
                  <a:extLst>
                    <a:ext uri="{9D8B030D-6E8A-4147-A177-3AD203B41FA5}">
                      <a16:colId xmlns:a16="http://schemas.microsoft.com/office/drawing/2014/main" xmlns="" val="266555571"/>
                    </a:ext>
                  </a:extLst>
                </a:gridCol>
                <a:gridCol w="1342140">
                  <a:extLst>
                    <a:ext uri="{9D8B030D-6E8A-4147-A177-3AD203B41FA5}">
                      <a16:colId xmlns:a16="http://schemas.microsoft.com/office/drawing/2014/main" xmlns="" val="3363403893"/>
                    </a:ext>
                  </a:extLst>
                </a:gridCol>
                <a:gridCol w="1070312">
                  <a:extLst>
                    <a:ext uri="{9D8B030D-6E8A-4147-A177-3AD203B41FA5}">
                      <a16:colId xmlns:a16="http://schemas.microsoft.com/office/drawing/2014/main" xmlns="" val="88128972"/>
                    </a:ext>
                  </a:extLst>
                </a:gridCol>
                <a:gridCol w="1064648">
                  <a:extLst>
                    <a:ext uri="{9D8B030D-6E8A-4147-A177-3AD203B41FA5}">
                      <a16:colId xmlns:a16="http://schemas.microsoft.com/office/drawing/2014/main" xmlns="" val="1999592411"/>
                    </a:ext>
                  </a:extLst>
                </a:gridCol>
              </a:tblGrid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рлығы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КТС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ҚҚС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СПиН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, в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.ч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ҚӨС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Н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, в </a:t>
                      </a:r>
                      <a:r>
                        <a:rPr lang="ru-RU" sz="1600" b="1" i="0" u="none" strike="noStrike" dirty="0" err="1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.ч</a:t>
                      </a:r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ұнайға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 </a:t>
                      </a:r>
                      <a:r>
                        <a:rPr lang="ru-RU" sz="16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ЭТП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басқалар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145112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023 ж. 9 ай</a:t>
                      </a:r>
                      <a:endParaRPr lang="ru-RU" sz="1600" b="0" i="0" u="none" strike="noStrike" kern="1200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 0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166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76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781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58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1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101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94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7517268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024 ж. 9 ай</a:t>
                      </a:r>
                      <a:endParaRPr lang="ru-RU" sz="1600" b="0" i="0" u="none" strike="noStrike" kern="1200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 2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9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7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3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798339410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kern="1200" dirty="0" err="1" smtClean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ауытқу</a:t>
                      </a:r>
                      <a:endParaRPr lang="ru-RU" sz="1600" b="0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8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2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5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1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4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5762329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0854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2</TotalTime>
  <Words>1090</Words>
  <Application>Microsoft Office PowerPoint</Application>
  <PresentationFormat>Произвольный</PresentationFormat>
  <Paragraphs>363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dmin</dc:creator>
  <cp:lastModifiedBy>Таванова Аселгуль </cp:lastModifiedBy>
  <cp:revision>41</cp:revision>
  <cp:lastPrinted>2024-11-27T12:57:06Z</cp:lastPrinted>
  <dcterms:modified xsi:type="dcterms:W3CDTF">2024-11-27T14:44:42Z</dcterms:modified>
</cp:coreProperties>
</file>